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3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34958308874411"/>
          <c:y val="0.12567163355148306"/>
          <c:w val="0.77917345315760345"/>
          <c:h val="0.7308876592671684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CB-4530-8A80-D77B0F5AAC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CB-4530-8A80-D77B0F5AAC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CB-4530-8A80-D77B0F5AA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CEF41-9E3C-5031-507F-79484C8192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653299-70F8-A370-04D2-A808BE88AD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653299-70F8-A370-04D2-A808BE88A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59093F9-D7AC-C844-1723-B37EABBA4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100% Stacked Bar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A6EEEFF-F5DA-6E89-1360-66E8584E1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CAD3DC53-0EC0-FD65-BDFA-F0E28DE029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CBEE212-CD08-773C-7AA0-628420FED3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FC71971-517E-DFC4-E6EC-A68DBEECA1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B221DE3-993A-79A3-5CA0-C62D1867D2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A06C0351-17C2-923F-550C-6C07C0B1496B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7015162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485511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6</TotalTime>
  <Words>88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100% Stacked Bar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72</cp:revision>
  <dcterms:created xsi:type="dcterms:W3CDTF">2025-07-09T10:57:17Z</dcterms:created>
  <dcterms:modified xsi:type="dcterms:W3CDTF">2025-10-22T09:51:12Z</dcterms:modified>
  <cp:category/>
</cp:coreProperties>
</file>